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344" r:id="rId2"/>
    <p:sldId id="399" r:id="rId3"/>
    <p:sldId id="402" r:id="rId4"/>
    <p:sldId id="400" r:id="rId5"/>
    <p:sldId id="384" r:id="rId6"/>
    <p:sldId id="386" r:id="rId7"/>
    <p:sldId id="388" r:id="rId8"/>
    <p:sldId id="389" r:id="rId9"/>
    <p:sldId id="390" r:id="rId10"/>
    <p:sldId id="403" r:id="rId11"/>
    <p:sldId id="393" r:id="rId12"/>
    <p:sldId id="407" r:id="rId13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xmlns:mv="urn:schemas-microsoft-com:mac:vml" xmlns:mc="http://schemas.openxmlformats.org/markup-compatibility/2006" val="0"/>
    </p:ext>
    <p:ext uri="{D31A062A-798A-4329-ABDD-BBA856620510}">
      <p14:defaultImageDpi xmlns="" xmlns:p14="http://schemas.microsoft.com/office/powerpoint/2010/main" xmlns:mv="urn:schemas-microsoft-com:mac:vml" xmlns:mc="http://schemas.openxmlformats.org/markup-compatibility/2006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588" autoAdjust="0"/>
    <p:restoredTop sz="95382" autoAdjust="0"/>
  </p:normalViewPr>
  <p:slideViewPr>
    <p:cSldViewPr>
      <p:cViewPr>
        <p:scale>
          <a:sx n="80" d="100"/>
          <a:sy n="80" d="100"/>
        </p:scale>
        <p:origin x="-72" y="121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9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4E85870-6AE5-47FC-BE73-D7E9350355DD}" type="slidenum">
              <a:rPr lang="en-US" altLang="en-US"/>
              <a:pPr/>
              <a:t>4</a:t>
            </a:fld>
            <a:endParaRPr lang="en-US" altLang="en-US"/>
          </a:p>
        </p:txBody>
      </p:sp>
      <p:sp>
        <p:nvSpPr>
          <p:cNvPr id="406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406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813" y="4343400"/>
            <a:ext cx="5032375" cy="411480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dirty="0"/>
              <a:t>1. </a:t>
            </a:r>
            <a:r>
              <a:rPr lang="en-US" altLang="en-US" sz="1300" dirty="0"/>
              <a:t>Adopting standard architecture process across the organization</a:t>
            </a:r>
            <a:endParaRPr lang="en-US" altLang="en-US" dirty="0"/>
          </a:p>
          <a:p>
            <a:pPr>
              <a:lnSpc>
                <a:spcPct val="80000"/>
              </a:lnSpc>
            </a:pPr>
            <a:r>
              <a:rPr lang="en-US" altLang="en-US" dirty="0"/>
              <a:t>Need for standard approach - each project follows its own approach</a:t>
            </a:r>
          </a:p>
          <a:p>
            <a:pPr>
              <a:lnSpc>
                <a:spcPct val="80000"/>
              </a:lnSpc>
            </a:pPr>
            <a:r>
              <a:rPr lang="en-US" altLang="en-US" dirty="0"/>
              <a:t>Need for standard vocabulary- aspects of architecture are interpreted differently</a:t>
            </a:r>
          </a:p>
          <a:p>
            <a:pPr>
              <a:lnSpc>
                <a:spcPct val="80000"/>
              </a:lnSpc>
            </a:pPr>
            <a:r>
              <a:rPr lang="en-US" altLang="en-US" dirty="0"/>
              <a:t>Need for managing risks at early stage- risks are often discovered during implementation</a:t>
            </a:r>
          </a:p>
          <a:p>
            <a:pPr>
              <a:lnSpc>
                <a:spcPct val="80000"/>
              </a:lnSpc>
            </a:pPr>
            <a:r>
              <a:rPr lang="en-US" altLang="en-US" dirty="0"/>
              <a:t>Need for standard architecture outputs- outputs vary from project to project</a:t>
            </a:r>
          </a:p>
          <a:p>
            <a:r>
              <a:rPr lang="en-US" altLang="en-US" dirty="0"/>
              <a:t>2. </a:t>
            </a:r>
            <a:r>
              <a:rPr lang="en-US" altLang="en-US" sz="1300" dirty="0">
                <a:cs typeface="Times New Roman" pitchFamily="18" charset="0"/>
              </a:rPr>
              <a:t>Streamlining work assignments for multiple teams</a:t>
            </a:r>
            <a:endParaRPr lang="en-US" altLang="en-US" sz="1300" dirty="0"/>
          </a:p>
          <a:p>
            <a:pPr lvl="1">
              <a:lnSpc>
                <a:spcPct val="80000"/>
              </a:lnSpc>
            </a:pPr>
            <a:r>
              <a:rPr lang="en-US" altLang="en-US" dirty="0"/>
              <a:t>Need to avoid loss of information in handoffs to implementation teams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Need for implementation teams to understand and comply with architecture principles, design decisions (traceability)</a:t>
            </a:r>
          </a:p>
          <a:p>
            <a:pPr>
              <a:lnSpc>
                <a:spcPct val="80000"/>
              </a:lnSpc>
            </a:pPr>
            <a:r>
              <a:rPr lang="en-US" altLang="en-US" sz="1300" dirty="0"/>
              <a:t>3. Strengthening architecture areas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Need for consistent methods to address some areas such as availability, maintainability and integration</a:t>
            </a:r>
          </a:p>
          <a:p>
            <a:pPr>
              <a:lnSpc>
                <a:spcPct val="80000"/>
              </a:lnSpc>
            </a:pPr>
            <a:r>
              <a:rPr lang="en-US" altLang="en-US" sz="1300" dirty="0"/>
              <a:t>4. Improving productivity through tool and automation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Need for formal language to capture the architecture through tool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Need Architecture analysis to </a:t>
            </a:r>
            <a:r>
              <a:rPr lang="en-US" altLang="en-US" dirty="0">
                <a:cs typeface="Times New Roman" pitchFamily="18" charset="0"/>
              </a:rPr>
              <a:t>make sure that the design approach will yield an acceptable system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Need reference architecture, patterns, architecture styles  for reusability, architecture refinement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Need automated design translation- from architecture to the code</a:t>
            </a:r>
          </a:p>
          <a:p>
            <a:pPr lvl="1">
              <a:lnSpc>
                <a:spcPct val="80000"/>
              </a:lnSpc>
            </a:pPr>
            <a:endParaRPr lang="en-US" alt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10" Type="http://schemas.openxmlformats.org/officeDocument/2006/relationships/image" Target="../media/image5.png"/><Relationship Id="rId4" Type="http://schemas.openxmlformats.org/officeDocument/2006/relationships/tags" Target="../tags/tag3.xml"/><Relationship Id="rId9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65C4AA-2744-459E-BF97-DAE082FC23D2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C21A22-82A1-4D27-AA06-6A91D1747632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42E053-60A1-4ACA-AA00-CC6ADCDC6668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645" name="think-cell Slide" r:id="rId7" imgW="360" imgH="36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BB8B60-D5DE-47F0-B081-598EEA590706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69C34-9EA8-4F6E-8B55-082EAE1125BF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E56BBE-478A-4E44-8308-289863BB3656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EBFD76-CC86-466E-B91C-A2434AAAAB96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4D193B-F224-420E-8E18-4E9A0DAF0F1F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11FA74-2D35-4789-8583-FB006BF63D8F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FAA1FF-6859-4A49-826B-F6191C791A1D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00BF46B-CB9D-4302-B8C6-8E121C7093DD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ei.cmu.edu/architecture/start/glossary/classicdefs.cfm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smtClean="0"/>
              <a:t>SS </a:t>
            </a:r>
            <a:r>
              <a:rPr lang="en-GB" sz="3600" smtClean="0"/>
              <a:t>ZG653 (RL1.2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A Brief History of Software Architecture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/>
          <a:lstStyle/>
          <a:p>
            <a:pPr defTabSz="912813" eaLnBrk="1" hangingPunct="1"/>
            <a:r>
              <a:rPr lang="en-US" altLang="en-US" dirty="0" smtClean="0"/>
              <a:t>What should Architecture description have?......</a:t>
            </a:r>
            <a:endParaRPr lang="en-IN" altLang="en-US" dirty="0" smtClean="0"/>
          </a:p>
        </p:txBody>
      </p:sp>
      <p:sp>
        <p:nvSpPr>
          <p:cNvPr id="3174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912813" eaLnBrk="1" hangingPunct="1"/>
            <a:r>
              <a:rPr lang="en-US" altLang="en-US" dirty="0" smtClean="0"/>
              <a:t>A behavioral description </a:t>
            </a:r>
          </a:p>
          <a:p>
            <a:pPr lvl="1" defTabSz="912813" eaLnBrk="1" hangingPunct="1"/>
            <a:r>
              <a:rPr lang="en-US" altLang="en-US" dirty="0" smtClean="0"/>
              <a:t>describing how the structural elements execute “important” and “critical” scenarios</a:t>
            </a:r>
          </a:p>
          <a:p>
            <a:pPr lvl="2" defTabSz="912813" eaLnBrk="1" hangingPunct="1"/>
            <a:r>
              <a:rPr lang="en-US" altLang="en-US" dirty="0" smtClean="0"/>
              <a:t>E.g. how does the system authenticates a mobile user</a:t>
            </a:r>
          </a:p>
          <a:p>
            <a:pPr lvl="2" defTabSz="912813" eaLnBrk="1" hangingPunct="1"/>
            <a:r>
              <a:rPr lang="en-US" altLang="en-US" dirty="0" smtClean="0"/>
              <a:t>How does the system processes 1 TB of data in a day</a:t>
            </a:r>
          </a:p>
          <a:p>
            <a:pPr lvl="2" defTabSz="912813" eaLnBrk="1" hangingPunct="1"/>
            <a:r>
              <a:rPr lang="en-US" altLang="en-US" dirty="0" smtClean="0"/>
              <a:t>How does it stream video uninterruptedly during peak load</a:t>
            </a:r>
          </a:p>
          <a:p>
            <a:pPr lvl="1" defTabSz="912813" eaLnBrk="1" hangingPunct="1"/>
            <a:r>
              <a:rPr lang="en-US" altLang="en-US" dirty="0" smtClean="0"/>
              <a:t>These scenarios are mainly to implement various quality attribut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17E6141-7E63-41D2-A410-D9BBE1C0193D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636454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Architecture of Windows</a:t>
            </a:r>
            <a:br>
              <a:rPr lang="en-US" altLang="en-US" dirty="0" smtClean="0"/>
            </a:br>
            <a:r>
              <a:rPr lang="en-US" altLang="en-US" sz="1400" dirty="0" smtClean="0"/>
              <a:t>https</a:t>
            </a:r>
            <a:r>
              <a:rPr lang="en-US" altLang="en-US" sz="1400" dirty="0"/>
              <a:t>://http://blogs.msdn.com/b/hanybarakat/archive/2007/02/25/deeper-into-windows-architecture.aspx</a:t>
            </a:r>
            <a:endParaRPr lang="en-US" altLang="en-US" sz="14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394B53-A3D9-4154-B323-0EAB976852AB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pic>
        <p:nvPicPr>
          <p:cNvPr id="23554" name="Picture 2" descr="C:\Users\Santonu Sarkar\Pictures\WindowsArch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t="4062"/>
          <a:stretch/>
        </p:blipFill>
        <p:spPr bwMode="auto">
          <a:xfrm>
            <a:off x="990600" y="1413164"/>
            <a:ext cx="7112742" cy="498763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950872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C1DFA7-B767-4CA9-9B31-96156B2FBE03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ure </a:t>
            </a:r>
            <a:r>
              <a:rPr lang="en-US" dirty="0"/>
              <a:t>of Android</a:t>
            </a:r>
            <a:br>
              <a:rPr lang="en-US" dirty="0"/>
            </a:br>
            <a:r>
              <a:rPr lang="en-US" sz="1400" dirty="0"/>
              <a:t>http://www.techotopia.com/index.php/An_Overview_of_the_Android_Architecture</a:t>
            </a:r>
            <a:endParaRPr lang="en-US" dirty="0"/>
          </a:p>
        </p:txBody>
      </p:sp>
      <p:pic>
        <p:nvPicPr>
          <p:cNvPr id="24579" name="Picture 3" descr="C:\Users\Santonu Sarkar\Pictures\android_architectur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auto">
          <a:xfrm>
            <a:off x="861950" y="1314604"/>
            <a:ext cx="7059944" cy="508619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32732081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Informally what is meant by (Software) Architecture</a:t>
            </a:r>
            <a:endParaRPr lang="en-US" sz="4000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ssentially a blueprint </a:t>
            </a:r>
            <a:r>
              <a:rPr lang="en-US" dirty="0"/>
              <a:t>of a software system that helps </a:t>
            </a:r>
            <a:r>
              <a:rPr lang="en-US" b="1" dirty="0"/>
              <a:t>stakeholders</a:t>
            </a:r>
            <a:r>
              <a:rPr lang="en-US" dirty="0"/>
              <a:t> to understand how the system would be once it is </a:t>
            </a:r>
            <a:r>
              <a:rPr lang="en-US" dirty="0" smtClean="0"/>
              <a:t>implemented </a:t>
            </a:r>
            <a:endParaRPr lang="en-US" dirty="0"/>
          </a:p>
          <a:p>
            <a:r>
              <a:rPr lang="en-US" dirty="0" smtClean="0"/>
              <a:t>What’s should be there in this blueprint?</a:t>
            </a:r>
          </a:p>
          <a:p>
            <a:pPr lvl="1"/>
            <a:r>
              <a:rPr lang="en-US" dirty="0" smtClean="0"/>
              <a:t>A description at </a:t>
            </a:r>
            <a:r>
              <a:rPr lang="en-US" dirty="0"/>
              <a:t>a higher level of abstraction than </a:t>
            </a:r>
            <a:r>
              <a:rPr lang="en-US" dirty="0" smtClean="0"/>
              <a:t>objects </a:t>
            </a:r>
            <a:r>
              <a:rPr lang="en-US" dirty="0"/>
              <a:t>and lines of </a:t>
            </a:r>
            <a:r>
              <a:rPr lang="en-US" dirty="0" smtClean="0"/>
              <a:t>codes </a:t>
            </a:r>
          </a:p>
          <a:p>
            <a:pPr marL="457200" lvl="1" indent="0">
              <a:buNone/>
            </a:pPr>
            <a:r>
              <a:rPr lang="en-US" dirty="0" smtClean="0"/>
              <a:t>So that</a:t>
            </a:r>
          </a:p>
          <a:p>
            <a:pPr lvl="1"/>
            <a:r>
              <a:rPr lang="en-US" dirty="0" smtClean="0"/>
              <a:t>Stakeholders </a:t>
            </a:r>
            <a:r>
              <a:rPr lang="en-US" u="sng" dirty="0" smtClean="0"/>
              <a:t>understand </a:t>
            </a:r>
            <a:r>
              <a:rPr lang="en-US" dirty="0"/>
              <a:t>and </a:t>
            </a:r>
            <a:r>
              <a:rPr lang="en-US" u="sng" dirty="0"/>
              <a:t>reason about </a:t>
            </a:r>
            <a:r>
              <a:rPr lang="en-US" dirty="0" smtClean="0"/>
              <a:t>without </a:t>
            </a:r>
            <a:r>
              <a:rPr lang="en-US" dirty="0"/>
              <a:t>getting lost into a sea of </a:t>
            </a:r>
            <a:r>
              <a:rPr lang="en-US" dirty="0" smtClean="0"/>
              <a:t>detail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0F843A-3F4C-4683-B0B7-74438AEC9782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212886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o are Stakeholder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382000" cy="1219200"/>
          </a:xfrm>
        </p:spPr>
        <p:txBody>
          <a:bodyPr/>
          <a:lstStyle/>
          <a:p>
            <a:pPr marL="0" indent="0" algn="ctr">
              <a:buNone/>
            </a:pPr>
            <a:r>
              <a:rPr lang="en-US" sz="2800" dirty="0" smtClean="0"/>
              <a:t>A complex software </a:t>
            </a:r>
            <a:r>
              <a:rPr lang="en-US" sz="2800" dirty="0"/>
              <a:t>has multiple stakeholders who </a:t>
            </a:r>
            <a:r>
              <a:rPr lang="en-US" sz="2800" dirty="0" smtClean="0"/>
              <a:t>expect certain features of the software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102B74-7EF2-41AC-9FD1-9E0E9110D941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xmlns:mv="urn:schemas-microsoft-com:mac:vml" xmlns:mc="http://schemas.openxmlformats.org/markup-compatibility/2006" val="3102371106"/>
              </p:ext>
            </p:extLst>
          </p:nvPr>
        </p:nvGraphicFramePr>
        <p:xfrm>
          <a:off x="533400" y="2133600"/>
          <a:ext cx="8153400" cy="42241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38400"/>
                <a:gridCol w="5715000"/>
              </a:tblGrid>
              <a:tr h="9656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Stakeholder</a:t>
                      </a:r>
                      <a:endParaRPr lang="en-US" sz="1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21117" marR="21117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Area of Concern</a:t>
                      </a:r>
                      <a:endParaRPr lang="en-US" sz="1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21117" marR="21117" marT="0" marB="0"/>
                </a:tc>
              </a:tr>
              <a:tr h="231267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</a:rPr>
                        <a:t>Chief</a:t>
                      </a:r>
                      <a:r>
                        <a:rPr lang="en-US" sz="1300" baseline="0" dirty="0" smtClean="0">
                          <a:effectLst/>
                        </a:rPr>
                        <a:t> Technologist </a:t>
                      </a:r>
                      <a:endParaRPr lang="en-US" sz="13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21117" marR="21117" marT="0" marB="0"/>
                </a:tc>
                <a:tc>
                  <a:txBody>
                    <a:bodyPr/>
                    <a:lstStyle/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 smtClean="0">
                          <a:effectLst/>
                        </a:rPr>
                        <a:t>Does</a:t>
                      </a:r>
                      <a:r>
                        <a:rPr lang="en-US" sz="1300" baseline="0" dirty="0" smtClean="0">
                          <a:effectLst/>
                        </a:rPr>
                        <a:t> it adhere to organization </a:t>
                      </a:r>
                      <a:r>
                        <a:rPr lang="en-US" sz="1300" dirty="0" smtClean="0">
                          <a:effectLst/>
                        </a:rPr>
                        <a:t>standards ?</a:t>
                      </a:r>
                      <a:endParaRPr lang="en-US" sz="1300" dirty="0">
                        <a:effectLst/>
                      </a:endParaRPr>
                    </a:p>
                  </a:txBody>
                  <a:tcPr marL="21117" marR="21117" marT="0" marB="0"/>
                </a:tc>
              </a:tr>
              <a:tr h="385443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</a:rPr>
                        <a:t>Database Designer</a:t>
                      </a:r>
                      <a:endParaRPr lang="en-US" sz="13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21117" marR="21117" marT="0" marB="0"/>
                </a:tc>
                <a:tc>
                  <a:txBody>
                    <a:bodyPr/>
                    <a:lstStyle/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 smtClean="0">
                          <a:effectLst/>
                        </a:rPr>
                        <a:t>What information to be stored, where, how, access</a:t>
                      </a:r>
                      <a:r>
                        <a:rPr lang="en-US" sz="1300" baseline="0" dirty="0" smtClean="0">
                          <a:effectLst/>
                        </a:rPr>
                        <a:t> mechanism???</a:t>
                      </a:r>
                      <a:endParaRPr lang="en-US" sz="1300" dirty="0">
                        <a:effectLst/>
                      </a:endParaRP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>
                          <a:effectLst/>
                        </a:rPr>
                        <a:t>Information </a:t>
                      </a:r>
                      <a:r>
                        <a:rPr lang="en-US" sz="1300" dirty="0" smtClean="0">
                          <a:effectLst/>
                        </a:rPr>
                        <a:t>security issues?</a:t>
                      </a:r>
                      <a:endParaRPr lang="en-US" sz="13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21117" marR="21117" marT="0" marB="0"/>
                </a:tc>
              </a:tr>
              <a:tr h="380108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</a:rPr>
                        <a:t>Application </a:t>
                      </a:r>
                      <a:r>
                        <a:rPr lang="en-US" sz="1300" dirty="0" smtClean="0">
                          <a:effectLst/>
                        </a:rPr>
                        <a:t>Development</a:t>
                      </a:r>
                      <a:r>
                        <a:rPr lang="en-US" sz="1300" baseline="0" dirty="0" smtClean="0">
                          <a:effectLst/>
                        </a:rPr>
                        <a:t> team</a:t>
                      </a:r>
                      <a:endParaRPr lang="en-US" sz="13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21117" marR="21117" marT="0" marB="0"/>
                </a:tc>
                <a:tc>
                  <a:txBody>
                    <a:bodyPr/>
                    <a:lstStyle/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 smtClean="0">
                          <a:effectLst/>
                        </a:rPr>
                        <a:t>How</a:t>
                      </a:r>
                      <a:r>
                        <a:rPr lang="en-US" sz="1300" baseline="0" dirty="0" smtClean="0">
                          <a:effectLst/>
                        </a:rPr>
                        <a:t> do I implement a complex scenario? </a:t>
                      </a:r>
                      <a:endParaRPr lang="en-US" sz="1300" dirty="0">
                        <a:effectLst/>
                      </a:endParaRP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 smtClean="0">
                          <a:effectLst/>
                        </a:rPr>
                        <a:t>How should I organize my code?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 smtClean="0">
                          <a:effectLst/>
                        </a:rPr>
                        <a:t>How do I plan for division of work?</a:t>
                      </a:r>
                      <a:endParaRPr lang="en-US" sz="1300" dirty="0">
                        <a:effectLst/>
                      </a:endParaRPr>
                    </a:p>
                  </a:txBody>
                  <a:tcPr marL="21117" marR="21117" marT="0" marB="0"/>
                </a:tc>
              </a:tr>
              <a:tr h="385443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</a:rPr>
                        <a:t>Users/Customers</a:t>
                      </a:r>
                      <a:endParaRPr lang="en-US" sz="13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21117" marR="21117" marT="0" marB="0"/>
                </a:tc>
                <a:tc>
                  <a:txBody>
                    <a:bodyPr/>
                    <a:lstStyle/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 smtClean="0">
                          <a:effectLst/>
                        </a:rPr>
                        <a:t>Does it perform as</a:t>
                      </a:r>
                      <a:r>
                        <a:rPr lang="en-US" sz="1300" baseline="0" dirty="0" smtClean="0">
                          <a:effectLst/>
                        </a:rPr>
                        <a:t> per my requirement? 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baseline="0" dirty="0" smtClean="0">
                          <a:effectLst/>
                        </a:rPr>
                        <a:t>What about the cost/budget? </a:t>
                      </a:r>
                      <a:endParaRPr lang="en-US" sz="1300" dirty="0">
                        <a:effectLst/>
                      </a:endParaRP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>
                          <a:effectLst/>
                        </a:rPr>
                        <a:t>Scalability, performance and reliability of the </a:t>
                      </a:r>
                      <a:r>
                        <a:rPr lang="en-US" sz="1300" dirty="0" smtClean="0">
                          <a:effectLst/>
                        </a:rPr>
                        <a:t>system?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 smtClean="0">
                          <a:effectLst/>
                        </a:rPr>
                        <a:t>How easy it is to use? 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 smtClean="0">
                          <a:effectLst/>
                        </a:rPr>
                        <a:t>Is it always available?</a:t>
                      </a:r>
                    </a:p>
                  </a:txBody>
                  <a:tcPr marL="21117" marR="21117" marT="0" marB="0"/>
                </a:tc>
              </a:tr>
              <a:tr h="693799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</a:rPr>
                        <a:t>Infrastructure Manager</a:t>
                      </a:r>
                      <a:endParaRPr lang="en-US" sz="13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21117" marR="21117" marT="0" marB="0"/>
                </a:tc>
                <a:tc>
                  <a:txBody>
                    <a:bodyPr/>
                    <a:lstStyle/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>
                          <a:effectLst/>
                        </a:rPr>
                        <a:t>Performance and scalability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>
                          <a:effectLst/>
                        </a:rPr>
                        <a:t>Idea of system &amp; network usage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>
                          <a:effectLst/>
                        </a:rPr>
                        <a:t>Indication of hardware and software cost, scalability, deployment location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>
                          <a:effectLst/>
                        </a:rPr>
                        <a:t>Safety and security consideration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 smtClean="0">
                          <a:effectLst/>
                        </a:rPr>
                        <a:t>Is it fault tolerant-</a:t>
                      </a:r>
                      <a:r>
                        <a:rPr lang="en-US" sz="1300" dirty="0">
                          <a:effectLst/>
                        </a:rPr>
                        <a:t>crash recovery &amp; backup</a:t>
                      </a:r>
                      <a:endParaRPr lang="en-US" sz="13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21117" marR="21117" marT="0" marB="0"/>
                </a:tc>
              </a:tr>
              <a:tr h="308356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</a:rPr>
                        <a:t>Release &amp; Configuration Manager</a:t>
                      </a:r>
                      <a:endParaRPr lang="en-US" sz="13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21117" marR="21117" marT="0" marB="0"/>
                </a:tc>
                <a:tc>
                  <a:txBody>
                    <a:bodyPr/>
                    <a:lstStyle/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>
                          <a:effectLst/>
                        </a:rPr>
                        <a:t>Build strategy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>
                          <a:effectLst/>
                        </a:rPr>
                        <a:t>Code management, version </a:t>
                      </a:r>
                      <a:r>
                        <a:rPr lang="en-US" sz="1300" dirty="0" smtClean="0">
                          <a:effectLst/>
                        </a:rPr>
                        <a:t>control, code organization</a:t>
                      </a:r>
                      <a:endParaRPr lang="en-US" sz="1300" dirty="0">
                        <a:effectLst/>
                      </a:endParaRPr>
                    </a:p>
                  </a:txBody>
                  <a:tcPr marL="21117" marR="21117" marT="0" marB="0"/>
                </a:tc>
              </a:tr>
              <a:tr h="411480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</a:rPr>
                        <a:t>System Maintainer</a:t>
                      </a:r>
                      <a:endParaRPr lang="en-US" sz="13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21117" marR="21117" marT="0" marB="0"/>
                </a:tc>
                <a:tc>
                  <a:txBody>
                    <a:bodyPr/>
                    <a:lstStyle/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 smtClean="0">
                          <a:effectLst/>
                        </a:rPr>
                        <a:t>How do I replace </a:t>
                      </a:r>
                      <a:r>
                        <a:rPr lang="en-US" sz="1300" dirty="0">
                          <a:effectLst/>
                        </a:rPr>
                        <a:t>of a subsystem with minimal impact </a:t>
                      </a:r>
                      <a:r>
                        <a:rPr lang="en-US" sz="1300" dirty="0" smtClean="0">
                          <a:effectLst/>
                        </a:rPr>
                        <a:t>?</a:t>
                      </a:r>
                      <a:endParaRPr lang="en-US" sz="1300" dirty="0">
                        <a:effectLst/>
                      </a:endParaRP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28600" algn="l"/>
                          <a:tab pos="457200" algn="l"/>
                        </a:tabLst>
                      </a:pPr>
                      <a:r>
                        <a:rPr lang="en-US" sz="1300" dirty="0" smtClean="0">
                          <a:effectLst/>
                        </a:rPr>
                        <a:t>Ho</a:t>
                      </a:r>
                      <a:r>
                        <a:rPr lang="en-US" sz="1300" baseline="0" dirty="0" smtClean="0">
                          <a:effectLst/>
                        </a:rPr>
                        <a:t>w fast can I </a:t>
                      </a:r>
                      <a:r>
                        <a:rPr lang="en-US" sz="1300" dirty="0" smtClean="0">
                          <a:effectLst/>
                        </a:rPr>
                        <a:t>diagnosis </a:t>
                      </a:r>
                      <a:r>
                        <a:rPr lang="en-US" sz="1300" dirty="0">
                          <a:effectLst/>
                        </a:rPr>
                        <a:t>of faults and failures and how </a:t>
                      </a:r>
                      <a:r>
                        <a:rPr lang="en-US" sz="1300" dirty="0" smtClean="0">
                          <a:effectLst/>
                        </a:rPr>
                        <a:t>quickly</a:t>
                      </a:r>
                      <a:r>
                        <a:rPr lang="en-US" sz="1300" baseline="0" dirty="0" smtClean="0">
                          <a:effectLst/>
                        </a:rPr>
                        <a:t> I can recover?</a:t>
                      </a:r>
                      <a:endParaRPr lang="en-US" sz="1300" dirty="0">
                        <a:effectLst/>
                      </a:endParaRPr>
                    </a:p>
                  </a:txBody>
                  <a:tcPr marL="21117" marR="21117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3731742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506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204850"/>
            <a:ext cx="8229600" cy="939800"/>
          </a:xfrm>
        </p:spPr>
        <p:txBody>
          <a:bodyPr/>
          <a:lstStyle/>
          <a:p>
            <a:r>
              <a:rPr lang="en-US" altLang="en-US" sz="4000" dirty="0"/>
              <a:t>Why </a:t>
            </a:r>
            <a:r>
              <a:rPr lang="en-US" altLang="en-US" sz="4000" dirty="0" smtClean="0"/>
              <a:t>Architecture needs to be described?</a:t>
            </a:r>
            <a:endParaRPr lang="en-US" altLang="en-US" sz="4000" dirty="0"/>
          </a:p>
        </p:txBody>
      </p:sp>
      <p:sp>
        <p:nvSpPr>
          <p:cNvPr id="405507" name="Rectangle 3"/>
          <p:cNvSpPr>
            <a:spLocks noGrp="1" noChangeArrowheads="1"/>
          </p:cNvSpPr>
          <p:nvPr>
            <p:ph idx="1"/>
          </p:nvPr>
        </p:nvSpPr>
        <p:spPr>
          <a:xfrm>
            <a:off x="3810000" y="1371600"/>
            <a:ext cx="4876800" cy="502920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sz="2000" dirty="0" smtClean="0"/>
              <a:t>Each stakeholder has his own interpretation of the systems</a:t>
            </a:r>
          </a:p>
          <a:p>
            <a:pPr marL="781050" lvl="1" indent="-381000">
              <a:lnSpc>
                <a:spcPct val="80000"/>
              </a:lnSpc>
            </a:pPr>
            <a:r>
              <a:rPr lang="en-US" altLang="en-US" sz="1800" dirty="0" smtClean="0"/>
              <a:t>Sometimes no understanding at all</a:t>
            </a:r>
          </a:p>
          <a:p>
            <a:pPr marL="781050" lvl="1" indent="-381000">
              <a:lnSpc>
                <a:spcPct val="80000"/>
              </a:lnSpc>
            </a:pPr>
            <a:r>
              <a:rPr lang="en-US" altLang="en-US" sz="1800" dirty="0" smtClean="0"/>
              <a:t>Architect is the middleman who co-ordinates with these stakeholders</a:t>
            </a:r>
          </a:p>
          <a:p>
            <a:pPr marL="381000" indent="-381000">
              <a:lnSpc>
                <a:spcPct val="80000"/>
              </a:lnSpc>
            </a:pPr>
            <a:r>
              <a:rPr lang="en-US" altLang="en-US" sz="2000" dirty="0" smtClean="0"/>
              <a:t>How will everyone be convinced that his expectations from the system will be satisfied?</a:t>
            </a:r>
          </a:p>
          <a:p>
            <a:pPr marL="381000" indent="-381000">
              <a:lnSpc>
                <a:spcPct val="80000"/>
              </a:lnSpc>
            </a:pPr>
            <a:r>
              <a:rPr lang="en-US" altLang="en-US" sz="2000" dirty="0" smtClean="0"/>
              <a:t>Even when the architect has created the solution blueprint, how does she handover the solution to the developers?</a:t>
            </a:r>
          </a:p>
          <a:p>
            <a:pPr marL="381000" indent="-381000">
              <a:lnSpc>
                <a:spcPct val="80000"/>
              </a:lnSpc>
            </a:pPr>
            <a:r>
              <a:rPr lang="en-US" altLang="en-US" sz="2000" dirty="0" smtClean="0"/>
              <a:t>How do the developers build and ensure critical aspects of the system?</a:t>
            </a:r>
          </a:p>
          <a:p>
            <a:pPr marL="381000" indent="-381000">
              <a:lnSpc>
                <a:spcPct val="80000"/>
              </a:lnSpc>
            </a:pPr>
            <a:r>
              <a:rPr lang="en-US" altLang="en-US" sz="2000" dirty="0" smtClean="0"/>
              <a:t>Misunderstanding leads to incorrect implementation</a:t>
            </a:r>
          </a:p>
          <a:p>
            <a:pPr marL="781050" lvl="1" indent="-381000">
              <a:lnSpc>
                <a:spcPct val="80000"/>
              </a:lnSpc>
            </a:pPr>
            <a:r>
              <a:rPr lang="en-US" altLang="en-US" sz="1800" dirty="0" smtClean="0"/>
              <a:t>Leads to 10 times more effort to fix at a later stage</a:t>
            </a:r>
            <a:endParaRPr lang="en-US" altLang="en-US" sz="1800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en-US" dirty="0" smtClean="0"/>
              <a:t>SS ZG653</a:t>
            </a:r>
            <a:endParaRPr lang="en-US" alt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AEF7D-F95B-42DE-91AF-068E83D07998}" type="slidenum">
              <a:rPr lang="en-US" altLang="en-US"/>
              <a:pPr/>
              <a:t>4</a:t>
            </a:fld>
            <a:endParaRPr lang="en-US" altLang="en-US"/>
          </a:p>
        </p:txBody>
      </p:sp>
      <p:sp>
        <p:nvSpPr>
          <p:cNvPr id="405508" name="Rectangle 4"/>
          <p:cNvSpPr>
            <a:spLocks noChangeArrowheads="1"/>
          </p:cNvSpPr>
          <p:nvPr/>
        </p:nvSpPr>
        <p:spPr bwMode="auto">
          <a:xfrm>
            <a:off x="176419" y="1600200"/>
            <a:ext cx="3384550" cy="40608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>
            <a:lvl1pPr marL="342900" indent="-342900">
              <a:spcBef>
                <a:spcPct val="60000"/>
              </a:spcBef>
              <a:buClr>
                <a:schemeClr val="accent2"/>
              </a:buClr>
              <a:buFont typeface="Times New Roman" pitchFamily="18" charset="0"/>
              <a:defRPr sz="2200">
                <a:solidFill>
                  <a:srgbClr val="000099"/>
                </a:solidFill>
                <a:latin typeface="Arial" charset="0"/>
              </a:defRPr>
            </a:lvl1pPr>
            <a:lvl2pPr marL="742950" indent="-285750">
              <a:spcBef>
                <a:spcPct val="40000"/>
              </a:spcBef>
              <a:buClr>
                <a:schemeClr val="accent2"/>
              </a:buClr>
              <a:buFont typeface="Times New Roman" pitchFamily="18" charset="0"/>
              <a:buChar char="–"/>
              <a:defRPr sz="2000">
                <a:solidFill>
                  <a:srgbClr val="000099"/>
                </a:solidFill>
                <a:latin typeface="Arial" charset="0"/>
              </a:defRPr>
            </a:lvl2pPr>
            <a:lvl3pPr marL="1143000" indent="-228600">
              <a:lnSpc>
                <a:spcPct val="95000"/>
              </a:lnSpc>
              <a:spcBef>
                <a:spcPct val="35000"/>
              </a:spcBef>
              <a:buClr>
                <a:schemeClr val="accent2"/>
              </a:buClr>
              <a:buFont typeface="Times New Roman" pitchFamily="18" charset="0"/>
              <a:defRPr>
                <a:solidFill>
                  <a:srgbClr val="000099"/>
                </a:solidFill>
                <a:latin typeface="Arial" charset="0"/>
              </a:defRPr>
            </a:lvl3pPr>
            <a:lvl4pPr marL="1600200" indent="-228600">
              <a:lnSpc>
                <a:spcPct val="75000"/>
              </a:lnSpc>
              <a:spcBef>
                <a:spcPct val="30000"/>
              </a:spcBef>
              <a:buClr>
                <a:schemeClr val="accent2"/>
              </a:buClr>
              <a:buFont typeface="Times New Roman" pitchFamily="18" charset="0"/>
              <a:buChar char="–"/>
              <a:defRPr sz="1400">
                <a:solidFill>
                  <a:srgbClr val="000099"/>
                </a:solidFill>
                <a:latin typeface="Arial" charset="0"/>
              </a:defRPr>
            </a:lvl4pPr>
            <a:lvl5pPr marL="2057400" indent="-228600">
              <a:lnSpc>
                <a:spcPct val="75000"/>
              </a:lnSpc>
              <a:spcBef>
                <a:spcPct val="30000"/>
              </a:spcBef>
              <a:buClr>
                <a:schemeClr val="accent2"/>
              </a:buClr>
              <a:buFont typeface="Times New Roman" pitchFamily="18" charset="0"/>
              <a:buChar char="»"/>
              <a:defRPr sz="1200">
                <a:solidFill>
                  <a:srgbClr val="000099"/>
                </a:solidFill>
                <a:latin typeface="Arial" charset="0"/>
              </a:defRPr>
            </a:lvl5pPr>
            <a:lvl6pPr marL="2514600" indent="-228600" fontAlgn="base">
              <a:lnSpc>
                <a:spcPct val="75000"/>
              </a:lnSpc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Times New Roman" pitchFamily="18" charset="0"/>
              <a:buChar char="»"/>
              <a:defRPr sz="1200">
                <a:solidFill>
                  <a:srgbClr val="000099"/>
                </a:solidFill>
                <a:latin typeface="Arial" charset="0"/>
              </a:defRPr>
            </a:lvl6pPr>
            <a:lvl7pPr marL="2971800" indent="-228600" fontAlgn="base">
              <a:lnSpc>
                <a:spcPct val="75000"/>
              </a:lnSpc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Times New Roman" pitchFamily="18" charset="0"/>
              <a:buChar char="»"/>
              <a:defRPr sz="1200">
                <a:solidFill>
                  <a:srgbClr val="000099"/>
                </a:solidFill>
                <a:latin typeface="Arial" charset="0"/>
              </a:defRPr>
            </a:lvl7pPr>
            <a:lvl8pPr marL="3429000" indent="-228600" fontAlgn="base">
              <a:lnSpc>
                <a:spcPct val="75000"/>
              </a:lnSpc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Times New Roman" pitchFamily="18" charset="0"/>
              <a:buChar char="»"/>
              <a:defRPr sz="1200">
                <a:solidFill>
                  <a:srgbClr val="000099"/>
                </a:solidFill>
                <a:latin typeface="Arial" charset="0"/>
              </a:defRPr>
            </a:lvl8pPr>
            <a:lvl9pPr marL="3886200" indent="-228600" fontAlgn="base">
              <a:lnSpc>
                <a:spcPct val="75000"/>
              </a:lnSpc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buFont typeface="Times New Roman" pitchFamily="18" charset="0"/>
              <a:buChar char="»"/>
              <a:defRPr sz="1200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>
              <a:lnSpc>
                <a:spcPct val="80000"/>
              </a:lnSpc>
              <a:buFont typeface="Times New Roman" pitchFamily="18" charset="0"/>
              <a:buNone/>
            </a:pPr>
            <a:r>
              <a:rPr lang="en-US" altLang="en-US" sz="2000" b="1" u="sng" dirty="0" smtClean="0"/>
              <a:t>Any Large Software Corporation</a:t>
            </a:r>
            <a:endParaRPr lang="en-US" altLang="en-US" sz="2000" b="1" u="sng" dirty="0"/>
          </a:p>
          <a:p>
            <a:pPr algn="ctr">
              <a:lnSpc>
                <a:spcPct val="80000"/>
              </a:lnSpc>
              <a:buFont typeface="Times New Roman" pitchFamily="18" charset="0"/>
              <a:buNone/>
            </a:pPr>
            <a:endParaRPr lang="en-US" altLang="en-US" sz="1000" b="1" u="sng" dirty="0"/>
          </a:p>
          <a:p>
            <a:pPr>
              <a:lnSpc>
                <a:spcPct val="80000"/>
              </a:lnSpc>
              <a:buFont typeface="Wingdings" pitchFamily="2" charset="2"/>
              <a:buChar char="q"/>
            </a:pPr>
            <a:r>
              <a:rPr lang="en-US" altLang="en-US" sz="1800" dirty="0" smtClean="0"/>
              <a:t>Hundreds of concurrent projects being executed</a:t>
            </a:r>
            <a:endParaRPr lang="en-US" altLang="en-US" sz="1800" dirty="0"/>
          </a:p>
          <a:p>
            <a:pPr lvl="1">
              <a:lnSpc>
                <a:spcPct val="80000"/>
              </a:lnSpc>
              <a:buFont typeface="Wingdings" pitchFamily="2" charset="2"/>
              <a:buChar char="Ø"/>
            </a:pPr>
            <a:r>
              <a:rPr lang="en-US" altLang="en-US" sz="1600" dirty="0"/>
              <a:t>10-100 team size</a:t>
            </a:r>
          </a:p>
          <a:p>
            <a:pPr>
              <a:lnSpc>
                <a:spcPct val="80000"/>
              </a:lnSpc>
              <a:buFont typeface="Wingdings" pitchFamily="2" charset="2"/>
              <a:buChar char="q"/>
            </a:pPr>
            <a:r>
              <a:rPr lang="en-US" altLang="en-US" sz="1800" dirty="0"/>
              <a:t>Projects </a:t>
            </a:r>
            <a:r>
              <a:rPr lang="en-US" altLang="en-US" sz="1800" dirty="0" smtClean="0"/>
              <a:t>capture requirements</a:t>
            </a:r>
            <a:r>
              <a:rPr lang="en-US" altLang="en-US" sz="1800" dirty="0"/>
              <a:t>, </a:t>
            </a:r>
            <a:r>
              <a:rPr lang="en-US" altLang="en-US" sz="1800" dirty="0" smtClean="0"/>
              <a:t>there are architects, and large Development </a:t>
            </a:r>
            <a:r>
              <a:rPr lang="en-US" altLang="en-US" sz="1800" dirty="0"/>
              <a:t>teams </a:t>
            </a:r>
            <a:endParaRPr lang="en-US" altLang="en-US" sz="1600" dirty="0"/>
          </a:p>
          <a:p>
            <a:pPr>
              <a:lnSpc>
                <a:spcPct val="80000"/>
              </a:lnSpc>
              <a:buFont typeface="Wingdings" pitchFamily="2" charset="2"/>
              <a:buChar char="q"/>
            </a:pPr>
            <a:r>
              <a:rPr lang="en-US" altLang="en-US" sz="1800" dirty="0" smtClean="0"/>
              <a:t>Architect </a:t>
            </a:r>
            <a:r>
              <a:rPr lang="en-US" altLang="en-US" sz="1800" dirty="0"/>
              <a:t>start with requirements team &amp; handover to Development team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0980A64-1C7E-46C1-9D96-F0F1FAA0D58D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3258561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smtClean="0"/>
              <a:t>Software Architecture Definition</a:t>
            </a:r>
            <a:endParaRPr lang="en-IN" altLang="en-US" smtClean="0"/>
          </a:p>
        </p:txBody>
      </p:sp>
      <p:sp>
        <p:nvSpPr>
          <p:cNvPr id="2560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912813" eaLnBrk="1" hangingPunct="1"/>
            <a:r>
              <a:rPr lang="en-US" altLang="en-US" sz="2800" dirty="0" smtClean="0"/>
              <a:t>No </a:t>
            </a:r>
            <a:r>
              <a:rPr lang="en-US" altLang="en-US" sz="2800" dirty="0"/>
              <a:t>unique </a:t>
            </a:r>
            <a:r>
              <a:rPr lang="en-US" altLang="en-US" sz="2800" dirty="0" smtClean="0"/>
              <a:t>definition though similar… </a:t>
            </a:r>
          </a:p>
          <a:p>
            <a:pPr lvl="1" defTabSz="912813" eaLnBrk="1" hangingPunct="1"/>
            <a:r>
              <a:rPr lang="en-US" altLang="en-US" sz="1400" dirty="0" smtClean="0"/>
              <a:t>(</a:t>
            </a:r>
            <a:r>
              <a:rPr lang="en-US" altLang="en-US" sz="1400" dirty="0"/>
              <a:t>look at </a:t>
            </a:r>
            <a:r>
              <a:rPr lang="en-US" altLang="en-US" sz="1400" dirty="0">
                <a:hlinkClick r:id="rId2"/>
              </a:rPr>
              <a:t>http://</a:t>
            </a:r>
            <a:r>
              <a:rPr lang="en-US" altLang="en-US" sz="1400" dirty="0" smtClean="0">
                <a:hlinkClick r:id="rId2"/>
              </a:rPr>
              <a:t>www.sei.cmu.edu/architecture/start/glossary/classicdefs.cfm</a:t>
            </a:r>
            <a:r>
              <a:rPr lang="en-US" altLang="en-US" sz="1400" dirty="0" smtClean="0"/>
              <a:t> )</a:t>
            </a:r>
            <a:endParaRPr lang="en-US" altLang="en-US" sz="1400" dirty="0"/>
          </a:p>
          <a:p>
            <a:pPr defTabSz="912813" eaLnBrk="1" hangingPunct="1"/>
            <a:r>
              <a:rPr lang="en-US" altLang="en-US" sz="2000" dirty="0" smtClean="0"/>
              <a:t>.. “</a:t>
            </a:r>
            <a:r>
              <a:rPr lang="en-US" altLang="en-US" sz="2000" b="1" dirty="0" smtClean="0"/>
              <a:t>structure</a:t>
            </a:r>
            <a:r>
              <a:rPr lang="en-US" altLang="en-US" sz="2000" dirty="0" smtClean="0"/>
              <a:t> or structures of the system, which comprise </a:t>
            </a:r>
            <a:r>
              <a:rPr lang="en-US" altLang="en-US" sz="2000" b="1" dirty="0" smtClean="0"/>
              <a:t>software element</a:t>
            </a:r>
            <a:r>
              <a:rPr lang="en-US" altLang="en-US" sz="2000" dirty="0" smtClean="0"/>
              <a:t>s, the </a:t>
            </a:r>
            <a:r>
              <a:rPr lang="en-US" altLang="en-US" sz="2000" b="1" dirty="0" smtClean="0"/>
              <a:t>externally visible properties </a:t>
            </a:r>
            <a:r>
              <a:rPr lang="en-US" altLang="en-US" sz="2000" dirty="0" smtClean="0"/>
              <a:t>of those elements, and the </a:t>
            </a:r>
            <a:r>
              <a:rPr lang="en-US" altLang="en-US" sz="2000" b="1" dirty="0" smtClean="0"/>
              <a:t>relationships</a:t>
            </a:r>
            <a:r>
              <a:rPr lang="en-US" altLang="en-US" sz="2000" dirty="0" smtClean="0"/>
              <a:t> among them”			</a:t>
            </a:r>
            <a:r>
              <a:rPr lang="en-US" altLang="en-US" sz="1000" dirty="0" smtClean="0"/>
              <a:t>(Bass, Clements and </a:t>
            </a:r>
            <a:r>
              <a:rPr lang="en-US" altLang="en-US" sz="1000" dirty="0" err="1" smtClean="0"/>
              <a:t>Kazman</a:t>
            </a:r>
            <a:r>
              <a:rPr lang="en-US" altLang="en-US" sz="1000" dirty="0" smtClean="0"/>
              <a:t>, Software Architecture in Practice, 2</a:t>
            </a:r>
            <a:r>
              <a:rPr lang="en-US" altLang="en-US" sz="1000" baseline="30000" dirty="0" smtClean="0"/>
              <a:t>nd</a:t>
            </a:r>
            <a:r>
              <a:rPr lang="en-US" altLang="en-US" sz="1000" dirty="0" smtClean="0"/>
              <a:t> edition)</a:t>
            </a:r>
          </a:p>
          <a:p>
            <a:pPr defTabSz="912813" eaLnBrk="1" hangingPunct="1"/>
            <a:r>
              <a:rPr lang="en-US" sz="2000" dirty="0" smtClean="0"/>
              <a:t>“description </a:t>
            </a:r>
            <a:r>
              <a:rPr lang="en-US" sz="2000" dirty="0"/>
              <a:t>of elements from which systems are built, </a:t>
            </a:r>
            <a:r>
              <a:rPr lang="en-US" sz="2000" b="1" dirty="0"/>
              <a:t>interactions</a:t>
            </a:r>
            <a:r>
              <a:rPr lang="en-US" sz="2000" dirty="0"/>
              <a:t> among those elements, </a:t>
            </a:r>
            <a:r>
              <a:rPr lang="en-US" sz="2000" b="1" dirty="0"/>
              <a:t>patterns</a:t>
            </a:r>
            <a:r>
              <a:rPr lang="en-US" sz="2000" dirty="0"/>
              <a:t> that guide their </a:t>
            </a:r>
            <a:r>
              <a:rPr lang="en-US" sz="2000" b="1" dirty="0"/>
              <a:t>composition</a:t>
            </a:r>
            <a:r>
              <a:rPr lang="en-US" sz="2000" dirty="0"/>
              <a:t>, and </a:t>
            </a:r>
            <a:r>
              <a:rPr lang="en-US" sz="2000" b="1" dirty="0"/>
              <a:t>constraints</a:t>
            </a:r>
            <a:r>
              <a:rPr lang="en-US" sz="2000" dirty="0"/>
              <a:t> on these patterns. In general, a particular system is defined in terms of a collection of </a:t>
            </a:r>
            <a:r>
              <a:rPr lang="en-US" sz="2000" b="1" dirty="0"/>
              <a:t>components</a:t>
            </a:r>
            <a:r>
              <a:rPr lang="en-US" sz="2000" dirty="0"/>
              <a:t> and interactions among these </a:t>
            </a:r>
            <a:r>
              <a:rPr lang="en-US" sz="2000" dirty="0" smtClean="0"/>
              <a:t>components” </a:t>
            </a:r>
            <a:br>
              <a:rPr lang="en-US" sz="2000" dirty="0" smtClean="0"/>
            </a:br>
            <a:r>
              <a:rPr lang="en-US" altLang="en-US" sz="1000" dirty="0" smtClean="0"/>
              <a:t>Shaw and </a:t>
            </a:r>
            <a:r>
              <a:rPr lang="en-US" altLang="en-US" sz="1000" dirty="0" err="1" smtClean="0"/>
              <a:t>Garlan</a:t>
            </a:r>
            <a:r>
              <a:rPr lang="en-US" altLang="en-US" sz="1000" dirty="0" smtClean="0"/>
              <a:t> “</a:t>
            </a:r>
            <a:r>
              <a:rPr lang="en-US" sz="1000" i="1" dirty="0"/>
              <a:t>Software Architecture: Perspectives on an Emerging Disciplines</a:t>
            </a:r>
            <a:r>
              <a:rPr lang="en-US" altLang="en-US" sz="1000" dirty="0" smtClean="0"/>
              <a:t>”</a:t>
            </a:r>
          </a:p>
          <a:p>
            <a:pPr defTabSz="912813" eaLnBrk="1" hangingPunct="1"/>
            <a:r>
              <a:rPr lang="en-US" sz="2000" dirty="0" smtClean="0"/>
              <a:t>“description </a:t>
            </a:r>
            <a:r>
              <a:rPr lang="en-US" sz="2000" dirty="0"/>
              <a:t>of the </a:t>
            </a:r>
            <a:r>
              <a:rPr lang="en-US" sz="2000" b="1" dirty="0"/>
              <a:t>subsystems</a:t>
            </a:r>
            <a:r>
              <a:rPr lang="en-US" sz="2000" dirty="0"/>
              <a:t> and </a:t>
            </a:r>
            <a:r>
              <a:rPr lang="en-US" sz="2000" b="1" dirty="0"/>
              <a:t>components</a:t>
            </a:r>
            <a:r>
              <a:rPr lang="en-US" sz="2000" dirty="0"/>
              <a:t> of a software system and the </a:t>
            </a:r>
            <a:r>
              <a:rPr lang="en-US" sz="2000" b="1" dirty="0"/>
              <a:t>relationship</a:t>
            </a:r>
            <a:r>
              <a:rPr lang="en-US" sz="2000" dirty="0"/>
              <a:t> between them. Subsystems and components are typically specified in different </a:t>
            </a:r>
            <a:r>
              <a:rPr lang="en-US" sz="2000" b="1" dirty="0"/>
              <a:t>views</a:t>
            </a:r>
            <a:r>
              <a:rPr lang="en-US" sz="2000" dirty="0"/>
              <a:t> to show the relevant </a:t>
            </a:r>
            <a:r>
              <a:rPr lang="en-US" sz="2000" b="1" dirty="0"/>
              <a:t>functional</a:t>
            </a:r>
            <a:r>
              <a:rPr lang="en-US" sz="2000" dirty="0"/>
              <a:t> and </a:t>
            </a:r>
            <a:r>
              <a:rPr lang="en-US" sz="2000" b="1" dirty="0"/>
              <a:t>nonfunctional</a:t>
            </a:r>
            <a:r>
              <a:rPr lang="en-US" sz="2000" dirty="0"/>
              <a:t> properties of a software </a:t>
            </a:r>
            <a:r>
              <a:rPr lang="en-US" sz="2000" dirty="0" smtClean="0"/>
              <a:t>system” 	</a:t>
            </a:r>
            <a:br>
              <a:rPr lang="en-US" sz="2000" dirty="0" smtClean="0"/>
            </a:br>
            <a:r>
              <a:rPr lang="en-US" altLang="en-US" sz="1000" dirty="0" smtClean="0"/>
              <a:t>F</a:t>
            </a:r>
            <a:r>
              <a:rPr lang="en-US" altLang="en-US" sz="1000" dirty="0"/>
              <a:t>. </a:t>
            </a:r>
            <a:r>
              <a:rPr lang="en-US" altLang="en-US" sz="1000" dirty="0" err="1"/>
              <a:t>Buschmann</a:t>
            </a:r>
            <a:r>
              <a:rPr lang="en-US" altLang="en-US" sz="1000" dirty="0"/>
              <a:t> et al, Pattern Oriented Software Architecture </a:t>
            </a:r>
            <a:endParaRPr lang="en-US" altLang="en-US" sz="200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F6D4971-B1FA-4DCA-B482-FBB3568D6850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2428920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dirty="0" smtClean="0"/>
              <a:t>Is this Architecture</a:t>
            </a:r>
            <a:endParaRPr lang="en-IN" altLang="en-US" dirty="0" smtClean="0"/>
          </a:p>
        </p:txBody>
      </p:sp>
      <p:sp>
        <p:nvSpPr>
          <p:cNvPr id="4" name="Rectangle 3"/>
          <p:cNvSpPr/>
          <p:nvPr/>
        </p:nvSpPr>
        <p:spPr>
          <a:xfrm>
            <a:off x="1304932" y="1785926"/>
            <a:ext cx="1500198" cy="107157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Viewer</a:t>
            </a:r>
            <a:endParaRPr lang="en-IN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76766" y="1785926"/>
            <a:ext cx="1500198" cy="107157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Composer</a:t>
            </a:r>
            <a:endParaRPr lang="en-IN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4800" y="3714752"/>
            <a:ext cx="1500198" cy="107157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Protocol Engine</a:t>
            </a:r>
            <a:endParaRPr lang="en-IN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733692" y="3714752"/>
            <a:ext cx="1500198" cy="107157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Storage</a:t>
            </a:r>
            <a:endParaRPr lang="en-IN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091146" y="3714752"/>
            <a:ext cx="1500198" cy="107157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Utility Functions</a:t>
            </a:r>
            <a:endParaRPr lang="en-IN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cxnSp>
        <p:nvCxnSpPr>
          <p:cNvPr id="10" name="Straight Connector 9"/>
          <p:cNvCxnSpPr/>
          <p:nvPr/>
        </p:nvCxnSpPr>
        <p:spPr>
          <a:xfrm rot="5400000">
            <a:off x="1839937" y="3035300"/>
            <a:ext cx="357188" cy="1588"/>
          </a:xfrm>
          <a:prstGeom prst="lin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2" name="Straight Connector 11"/>
          <p:cNvCxnSpPr/>
          <p:nvPr/>
        </p:nvCxnSpPr>
        <p:spPr>
          <a:xfrm rot="5400000">
            <a:off x="839019" y="3464719"/>
            <a:ext cx="501650" cy="1587"/>
          </a:xfrm>
          <a:prstGeom prst="lin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5" name="Straight Connector 14"/>
          <p:cNvCxnSpPr/>
          <p:nvPr/>
        </p:nvCxnSpPr>
        <p:spPr>
          <a:xfrm rot="5400000">
            <a:off x="3268688" y="3463925"/>
            <a:ext cx="500062" cy="1587"/>
          </a:xfrm>
          <a:prstGeom prst="lin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6" name="Straight Connector 15"/>
          <p:cNvCxnSpPr/>
          <p:nvPr/>
        </p:nvCxnSpPr>
        <p:spPr>
          <a:xfrm rot="5400000">
            <a:off x="5627713" y="3463925"/>
            <a:ext cx="500062" cy="1587"/>
          </a:xfrm>
          <a:prstGeom prst="lin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7" name="Straight Connector 16"/>
          <p:cNvCxnSpPr/>
          <p:nvPr/>
        </p:nvCxnSpPr>
        <p:spPr>
          <a:xfrm rot="5400000">
            <a:off x="4913337" y="3035300"/>
            <a:ext cx="357188" cy="1588"/>
          </a:xfrm>
          <a:prstGeom prst="lin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1090637" y="3214688"/>
            <a:ext cx="4786313" cy="1587"/>
          </a:xfrm>
          <a:prstGeom prst="lin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EFD52E2-E54A-40A1-A632-A759DE13CA23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04800" y="5181600"/>
            <a:ext cx="62865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ypically we describe architecture as a collection of diagrams like thi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591344" y="1905000"/>
            <a:ext cx="240025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hat we understand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The system has 5 elemen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They are interconnected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One is on the top of another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599818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dirty="0" smtClean="0"/>
              <a:t>What’s Ambiguous?</a:t>
            </a:r>
            <a:endParaRPr lang="en-IN" altLang="en-US" dirty="0" smtClean="0"/>
          </a:p>
        </p:txBody>
      </p:sp>
      <p:sp>
        <p:nvSpPr>
          <p:cNvPr id="2969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912813" eaLnBrk="1" hangingPunct="1"/>
            <a:r>
              <a:rPr lang="en-US" altLang="en-US" sz="2800" dirty="0" smtClean="0"/>
              <a:t>Visible responsibilities</a:t>
            </a:r>
          </a:p>
          <a:p>
            <a:pPr lvl="1" defTabSz="912813" eaLnBrk="1" hangingPunct="1"/>
            <a:r>
              <a:rPr lang="en-US" altLang="en-US" sz="2400" dirty="0"/>
              <a:t>W</a:t>
            </a:r>
            <a:r>
              <a:rPr lang="en-US" altLang="en-US" sz="2400" dirty="0" smtClean="0"/>
              <a:t>hat do they do?</a:t>
            </a:r>
          </a:p>
          <a:p>
            <a:pPr lvl="1" defTabSz="912813" eaLnBrk="1" hangingPunct="1"/>
            <a:r>
              <a:rPr lang="en-US" altLang="en-US" sz="2400" dirty="0" smtClean="0"/>
              <a:t>How does their function relate to the system</a:t>
            </a:r>
          </a:p>
          <a:p>
            <a:pPr lvl="1" defTabSz="912813" eaLnBrk="1" hangingPunct="1"/>
            <a:r>
              <a:rPr lang="en-US" altLang="en-US" sz="2400" dirty="0" smtClean="0"/>
              <a:t>How have these elements been derived, is there any overlap?</a:t>
            </a:r>
          </a:p>
          <a:p>
            <a:pPr defTabSz="912813" eaLnBrk="1" hangingPunct="1"/>
            <a:r>
              <a:rPr lang="en-US" altLang="en-US" sz="2800" dirty="0" smtClean="0"/>
              <a:t>Are these processes, or programs</a:t>
            </a:r>
          </a:p>
          <a:p>
            <a:pPr lvl="1" defTabSz="912813" eaLnBrk="1" hangingPunct="1"/>
            <a:r>
              <a:rPr lang="en-US" altLang="en-US" sz="2400" dirty="0" smtClean="0"/>
              <a:t>How do they interact when the software executes</a:t>
            </a:r>
          </a:p>
          <a:p>
            <a:pPr lvl="1" defTabSz="912813" eaLnBrk="1" hangingPunct="1"/>
            <a:r>
              <a:rPr lang="en-US" altLang="en-US" sz="2400" dirty="0" smtClean="0"/>
              <a:t>Are they distributed?</a:t>
            </a:r>
          </a:p>
          <a:p>
            <a:pPr defTabSz="912813" eaLnBrk="1" hangingPunct="1"/>
            <a:r>
              <a:rPr lang="en-US" altLang="en-US" sz="2800" dirty="0" smtClean="0"/>
              <a:t>How are they deployed on a hardware</a:t>
            </a:r>
          </a:p>
          <a:p>
            <a:pPr defTabSz="912813" eaLnBrk="1" hangingPunct="1"/>
            <a:r>
              <a:rPr lang="en-US" altLang="en-US" sz="2800" dirty="0" smtClean="0"/>
              <a:t>What information does the system process?</a:t>
            </a:r>
          </a:p>
          <a:p>
            <a:pPr lvl="1" defTabSz="912813" eaLnBrk="1" hangingPunct="1"/>
            <a:endParaRPr lang="en-IN" altLang="en-US" sz="24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23ECFCE-6C3F-41FF-A842-B37E84D92C2F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3455405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dirty="0"/>
              <a:t>What’s Ambiguous?</a:t>
            </a:r>
            <a:endParaRPr lang="en-IN" altLang="en-US" dirty="0" smtClean="0"/>
          </a:p>
        </p:txBody>
      </p:sp>
      <p:sp>
        <p:nvSpPr>
          <p:cNvPr id="3072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912813" eaLnBrk="1" hangingPunct="1"/>
            <a:r>
              <a:rPr lang="en-US" altLang="en-US" smtClean="0"/>
              <a:t>Significance of connections</a:t>
            </a:r>
          </a:p>
          <a:p>
            <a:pPr lvl="1" defTabSz="912813" eaLnBrk="1" hangingPunct="1"/>
            <a:r>
              <a:rPr lang="en-US" altLang="en-US" smtClean="0"/>
              <a:t>Signify control or data</a:t>
            </a:r>
            <a:r>
              <a:rPr lang="en-IN" altLang="en-US" smtClean="0"/>
              <a:t>, invoke each other, synchronization</a:t>
            </a:r>
          </a:p>
          <a:p>
            <a:pPr lvl="1" defTabSz="912813" eaLnBrk="1" hangingPunct="1"/>
            <a:r>
              <a:rPr lang="en-US" altLang="en-US" smtClean="0"/>
              <a:t>Mechanism of communications</a:t>
            </a:r>
          </a:p>
          <a:p>
            <a:pPr defTabSz="912813" eaLnBrk="1" hangingPunct="1"/>
            <a:r>
              <a:rPr lang="en-US" altLang="en-US" smtClean="0"/>
              <a:t>Significance of layout</a:t>
            </a:r>
          </a:p>
          <a:p>
            <a:pPr lvl="1" defTabSz="912813" eaLnBrk="1" hangingPunct="1"/>
            <a:r>
              <a:rPr lang="en-US" altLang="en-US" smtClean="0"/>
              <a:t>Does level shown signify anything</a:t>
            </a:r>
          </a:p>
          <a:p>
            <a:pPr lvl="1" defTabSz="912813" eaLnBrk="1" hangingPunct="1"/>
            <a:r>
              <a:rPr lang="en-US" altLang="en-US" smtClean="0"/>
              <a:t>Was the type of drawing due to space constrain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FF62371-A882-479D-B22B-23522E987537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792905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2813" eaLnBrk="1" hangingPunct="1"/>
            <a:r>
              <a:rPr lang="en-US" altLang="en-US" dirty="0" smtClean="0"/>
              <a:t>What should Architecture description have?</a:t>
            </a:r>
            <a:endParaRPr lang="en-IN" altLang="en-US" dirty="0" smtClean="0"/>
          </a:p>
        </p:txBody>
      </p:sp>
      <p:sp>
        <p:nvSpPr>
          <p:cNvPr id="3174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912813" eaLnBrk="1" hangingPunct="1"/>
            <a:r>
              <a:rPr lang="en-US" altLang="en-US" dirty="0" smtClean="0"/>
              <a:t>A structure describing</a:t>
            </a:r>
          </a:p>
          <a:p>
            <a:pPr lvl="1" defTabSz="912813" eaLnBrk="1" hangingPunct="1"/>
            <a:r>
              <a:rPr lang="en-US" altLang="en-US" dirty="0" smtClean="0"/>
              <a:t>Modules</a:t>
            </a:r>
          </a:p>
          <a:p>
            <a:pPr lvl="2" defTabSz="912813" eaLnBrk="1" hangingPunct="1"/>
            <a:r>
              <a:rPr lang="en-US" altLang="en-US" dirty="0" smtClean="0"/>
              <a:t>Services offered by each module</a:t>
            </a:r>
          </a:p>
          <a:p>
            <a:pPr lvl="2" defTabSz="912813" eaLnBrk="1" hangingPunct="1"/>
            <a:r>
              <a:rPr lang="en-US" altLang="en-US" dirty="0" smtClean="0"/>
              <a:t>and their interactions- to achieve the functionality</a:t>
            </a:r>
          </a:p>
          <a:p>
            <a:pPr lvl="1" defTabSz="912813" eaLnBrk="1" hangingPunct="1"/>
            <a:r>
              <a:rPr lang="en-US" altLang="en-US" dirty="0" smtClean="0"/>
              <a:t>Information/data modeling</a:t>
            </a:r>
          </a:p>
          <a:p>
            <a:pPr lvl="1" defTabSz="912813" eaLnBrk="1" hangingPunct="1"/>
            <a:r>
              <a:rPr lang="en-US" altLang="en-US" dirty="0" smtClean="0"/>
              <a:t>Achieving quality attributes</a:t>
            </a:r>
          </a:p>
          <a:p>
            <a:pPr lvl="1" defTabSz="912813" eaLnBrk="1" hangingPunct="1"/>
            <a:r>
              <a:rPr lang="en-US" altLang="en-US" dirty="0" smtClean="0"/>
              <a:t>Processes and tasks that execute the software</a:t>
            </a:r>
          </a:p>
          <a:p>
            <a:pPr lvl="1" defTabSz="912813" eaLnBrk="1" hangingPunct="1"/>
            <a:r>
              <a:rPr lang="en-US" altLang="en-US" dirty="0" smtClean="0"/>
              <a:t>Deployment onto hardware</a:t>
            </a:r>
          </a:p>
          <a:p>
            <a:pPr lvl="1" defTabSz="912813" eaLnBrk="1" hangingPunct="1"/>
            <a:r>
              <a:rPr lang="en-US" altLang="en-US" dirty="0" smtClean="0"/>
              <a:t>Development plan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965C438-2483-4105-AA05-7CDFAE68223F}" type="datetime1">
              <a:rPr lang="en-US" smtClean="0"/>
              <a:pPr>
                <a:defRPr/>
              </a:pPr>
              <a:t>5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3763512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364</TotalTime>
  <Words>894</Words>
  <Application>Microsoft Macintosh PowerPoint</Application>
  <PresentationFormat>On-screen Show (4:3)</PresentationFormat>
  <Paragraphs>157</Paragraphs>
  <Slides>1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Office Theme</vt:lpstr>
      <vt:lpstr>think-cell Slide</vt:lpstr>
      <vt:lpstr>SS ZG653 (RL1.2): Software Architecture A Brief History of Software Architecture</vt:lpstr>
      <vt:lpstr>Informally what is meant by (Software) Architecture</vt:lpstr>
      <vt:lpstr>Who are Stakeholders?</vt:lpstr>
      <vt:lpstr>Why Architecture needs to be described?</vt:lpstr>
      <vt:lpstr>Software Architecture Definition</vt:lpstr>
      <vt:lpstr>Is this Architecture</vt:lpstr>
      <vt:lpstr>What’s Ambiguous?</vt:lpstr>
      <vt:lpstr>What’s Ambiguous?</vt:lpstr>
      <vt:lpstr>What should Architecture description have?</vt:lpstr>
      <vt:lpstr>What should Architecture description have?......</vt:lpstr>
      <vt:lpstr>Architecture of Windows https://http://blogs.msdn.com/b/hanybarakat/archive/2007/02/25/deeper-into-windows-architecture.aspx</vt:lpstr>
      <vt:lpstr>Architecture of Android http://www.techotopia.com/index.php/An_Overview_of_the_Android_Architecture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tudio</cp:lastModifiedBy>
  <cp:revision>548</cp:revision>
  <dcterms:created xsi:type="dcterms:W3CDTF">2015-05-23T18:00:45Z</dcterms:created>
  <dcterms:modified xsi:type="dcterms:W3CDTF">2015-05-24T05:38:10Z</dcterms:modified>
</cp:coreProperties>
</file>